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491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2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08F-4F1D-BCE2-3B31BF62E392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2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08F-4F1D-BCE2-3B31BF62E392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2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808F-4F1D-BCE2-3B31BF62E39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15</c:v>
                </c:pt>
                <c:pt idx="1">
                  <c:v>0.2</c:v>
                </c:pt>
                <c:pt idx="2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808F-4F1D-BCE2-3B31BF62E3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 w="25359">
          <a:noFill/>
        </a:ln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5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055137175649649E-2"/>
          <c:y val="0.12567163355148306"/>
          <c:w val="0.90046786524565781"/>
          <c:h val="0.73088765926716848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332-40AA-9413-65BE63A93C7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332-40AA-9413-65BE63A93C7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332-40AA-9413-65BE63A93C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44224304"/>
        <c:axId val="444227664"/>
      </c:barChart>
      <c:catAx>
        <c:axId val="44422430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4227664"/>
        <c:crosses val="autoZero"/>
        <c:auto val="1"/>
        <c:lblAlgn val="ctr"/>
        <c:lblOffset val="100"/>
        <c:noMultiLvlLbl val="0"/>
      </c:catAx>
      <c:valAx>
        <c:axId val="444227664"/>
        <c:scaling>
          <c:orientation val="minMax"/>
        </c:scaling>
        <c:delete val="0"/>
        <c:axPos val="b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42243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13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24794C-9CB1-24EC-5787-2F2FAA02E2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DAD65F5-2F4E-BD2C-6A70-A8C8C13DB9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DAD65F5-2F4E-BD2C-6A70-A8C8C13DB9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itle 1">
            <a:extLst>
              <a:ext uri="{FF2B5EF4-FFF2-40B4-BE49-F238E27FC236}">
                <a16:creationId xmlns:a16="http://schemas.microsoft.com/office/drawing/2014/main" id="{7912C879-1FA7-91B7-975B-C2CED71736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Doughnut / 100% Stacked Bar</a:t>
            </a:r>
            <a:endParaRPr lang="en-IN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ECE5CFB0-5077-D0B0-72C7-D38620500C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1</a:t>
            </a:fld>
            <a:endParaRPr lang="en-IN"/>
          </a:p>
        </p:txBody>
      </p:sp>
      <p:sp>
        <p:nvSpPr>
          <p:cNvPr id="12" name="Text Placeholder 35">
            <a:extLst>
              <a:ext uri="{FF2B5EF4-FFF2-40B4-BE49-F238E27FC236}">
                <a16:creationId xmlns:a16="http://schemas.microsoft.com/office/drawing/2014/main" id="{708B0B08-5353-BE87-1C21-DD178446E6B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/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62E8182F-0862-8870-D0B9-5A90A084B80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86491832-B25D-76E4-AAB4-52ECFDC5087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graphicFrame>
        <p:nvGraphicFramePr>
          <p:cNvPr id="5" name="Chart 32">
            <a:extLst>
              <a:ext uri="{FF2B5EF4-FFF2-40B4-BE49-F238E27FC236}">
                <a16:creationId xmlns:a16="http://schemas.microsoft.com/office/drawing/2014/main" id="{18FF8A64-DA93-8A2E-1BD3-26D67132181C}"/>
              </a:ext>
            </a:extLst>
          </p:cNvPr>
          <p:cNvGraphicFramePr>
            <a:graphicFrameLocks noGrp="1"/>
          </p:cNvGraphicFramePr>
          <p:nvPr>
            <p:ph type="chart" sz="quarter" idx="14"/>
          </p:nvPr>
        </p:nvGraphicFramePr>
        <p:xfrm>
          <a:off x="554038" y="1720850"/>
          <a:ext cx="5245100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6" name="Chart Placeholder 12">
            <a:extLst>
              <a:ext uri="{FF2B5EF4-FFF2-40B4-BE49-F238E27FC236}">
                <a16:creationId xmlns:a16="http://schemas.microsoft.com/office/drawing/2014/main" id="{43013E61-3CE5-C390-D8C0-C2B13228898A}"/>
              </a:ext>
            </a:extLst>
          </p:cNvPr>
          <p:cNvGraphicFramePr>
            <a:graphicFrameLocks noGrp="1"/>
          </p:cNvGraphicFramePr>
          <p:nvPr>
            <p:ph type="chart" sz="quarter" idx="17"/>
          </p:nvPr>
        </p:nvGraphicFramePr>
        <p:xfrm>
          <a:off x="6392863" y="1720850"/>
          <a:ext cx="5245100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0998974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15</TotalTime>
  <Words>24</Words>
  <Application>Microsoft Office PowerPoint</Application>
  <PresentationFormat>Widescreen</PresentationFormat>
  <Paragraphs>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Doughnut / 100% Stacked Bar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270</cp:revision>
  <dcterms:created xsi:type="dcterms:W3CDTF">2025-07-09T10:57:17Z</dcterms:created>
  <dcterms:modified xsi:type="dcterms:W3CDTF">2025-10-22T10:10:17Z</dcterms:modified>
  <cp:category/>
</cp:coreProperties>
</file>